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2.xml" ContentType="application/vnd.openxmlformats-officedocument.presentationml.notesSlid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3.xml" ContentType="application/vnd.openxmlformats-officedocument.presentationml.notesSlide+xml"/>
  <Override PartName="/ppt/tags/tag126.xml" ContentType="application/vnd.openxmlformats-officedocument.presentationml.tags+xml"/>
  <Override PartName="/ppt/notesSlides/notesSlide4.xml" ContentType="application/vnd.openxmlformats-officedocument.presentationml.notesSlide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tags/tag128.xml" ContentType="application/vnd.openxmlformats-officedocument.presentationml.tags+xml"/>
  <Override PartName="/ppt/notesSlides/notesSlide6.xml" ContentType="application/vnd.openxmlformats-officedocument.presentationml.notesSlide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5"/>
  </p:sldMasterIdLst>
  <p:notesMasterIdLst>
    <p:notesMasterId r:id="rId14"/>
  </p:notesMasterIdLst>
  <p:handoutMasterIdLst>
    <p:handoutMasterId r:id="rId15"/>
  </p:handoutMasterIdLst>
  <p:sldIdLst>
    <p:sldId id="327" r:id="rId6"/>
    <p:sldId id="328" r:id="rId7"/>
    <p:sldId id="305" r:id="rId8"/>
    <p:sldId id="315" r:id="rId9"/>
    <p:sldId id="316" r:id="rId10"/>
    <p:sldId id="326" r:id="rId11"/>
    <p:sldId id="324" r:id="rId12"/>
    <p:sldId id="320" r:id="rId13"/>
  </p:sldIdLst>
  <p:sldSz cx="12192000" cy="6858000"/>
  <p:notesSz cx="6858000" cy="9144000"/>
  <p:custDataLst>
    <p:tags r:id="rId16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" userDrawn="1">
          <p15:clr>
            <a:srgbClr val="A4A3A4"/>
          </p15:clr>
        </p15:guide>
        <p15:guide id="2" orient="horz" pos="4110" userDrawn="1">
          <p15:clr>
            <a:srgbClr val="A4A3A4"/>
          </p15:clr>
        </p15:guide>
        <p15:guide id="3" orient="horz" pos="442" userDrawn="1">
          <p15:clr>
            <a:srgbClr val="A4A3A4"/>
          </p15:clr>
        </p15:guide>
        <p15:guide id="4" orient="horz" pos="1026" userDrawn="1">
          <p15:clr>
            <a:srgbClr val="A4A3A4"/>
          </p15:clr>
        </p15:guide>
        <p15:guide id="5" pos="7319" userDrawn="1">
          <p15:clr>
            <a:srgbClr val="A4A3A4"/>
          </p15:clr>
        </p15:guide>
        <p15:guide id="6" pos="39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0DB"/>
    <a:srgbClr val="0A74F4"/>
    <a:srgbClr val="002C77"/>
    <a:srgbClr val="333333"/>
    <a:srgbClr val="BFDBFD"/>
    <a:srgbClr val="AED1FC"/>
    <a:srgbClr val="A3CBFB"/>
    <a:srgbClr val="889FD2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340" autoAdjust="0"/>
    <p:restoredTop sz="91781" autoAdjust="0"/>
  </p:normalViewPr>
  <p:slideViewPr>
    <p:cSldViewPr snapToObjects="1" showGuides="1">
      <p:cViewPr varScale="1">
        <p:scale>
          <a:sx n="79" d="100"/>
          <a:sy n="79" d="100"/>
        </p:scale>
        <p:origin x="374" y="77"/>
      </p:cViewPr>
      <p:guideLst>
        <p:guide orient="horz" pos="193"/>
        <p:guide orient="horz" pos="4110"/>
        <p:guide orient="horz" pos="442"/>
        <p:guide orient="horz" pos="1026"/>
        <p:guide pos="7319"/>
        <p:guide pos="39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6" d="100"/>
          <a:sy n="66" d="100"/>
        </p:scale>
        <p:origin x="3134" y="4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E951D708-58E8-46F8-BEEF-281273C3A9E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B432744-88D4-40C8-B231-D1FB6CA9109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19AD6-007D-4130-A35E-1F8B30CD8562}" type="datetimeFigureOut">
              <a:rPr lang="fr-CH" smtClean="0"/>
              <a:t>30.08.2022</a:t>
            </a:fld>
            <a:endParaRPr lang="fr-CH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24A8ADD-B12E-4C6E-86B9-03B665389B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314FF542-F62A-4F45-8F98-1D0B58BD5BE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DCB01F-727C-4EB0-9DCD-FCC2C3D035A9}" type="slidenum">
              <a:rPr lang="fr-CH" smtClean="0"/>
              <a:t>‹N°›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23870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30.08.2022</a:t>
            </a:fld>
            <a:endParaRPr lang="fr-CH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/>
              <a:t>Textmasterformate durch Klicken bearbeiten</a:t>
            </a:r>
          </a:p>
          <a:p>
            <a:pPr lvl="1"/>
            <a:r>
              <a:rPr lang="fr-CH"/>
              <a:t>Zweite Ebene</a:t>
            </a:r>
          </a:p>
          <a:p>
            <a:pPr lvl="2"/>
            <a:r>
              <a:rPr lang="fr-CH"/>
              <a:t>Dritte Ebene</a:t>
            </a:r>
          </a:p>
          <a:p>
            <a:pPr lvl="3"/>
            <a:r>
              <a:rPr lang="fr-CH"/>
              <a:t>Vierte Ebene</a:t>
            </a:r>
          </a:p>
          <a:p>
            <a:pPr lvl="4"/>
            <a:r>
              <a:rPr lang="fr-CH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243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fr-CH" dirty="0"/>
          </a:p>
        </p:txBody>
      </p:sp>
      <p:sp>
        <p:nvSpPr>
          <p:cNvPr id="10244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B0049294-DB17-4029-A513-C1869F63CAA3}" type="slidenum">
              <a:rPr lang="fr-CH" smtClean="0"/>
              <a:pPr/>
              <a:t>1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542866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7495032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479751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83722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3514595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jpe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59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tags" Target="../tags/tag72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9.xml"/><Relationship Id="rId11" Type="http://schemas.openxmlformats.org/officeDocument/2006/relationships/tags" Target="../tags/tag94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6.vml"/><Relationship Id="rId6" Type="http://schemas.openxmlformats.org/officeDocument/2006/relationships/tags" Target="../tags/tag99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9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7.xml"/><Relationship Id="rId9" Type="http://schemas.openxmlformats.org/officeDocument/2006/relationships/tags" Target="../tags/tag10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4.xml"/><Relationship Id="rId7" Type="http://schemas.openxmlformats.org/officeDocument/2006/relationships/tags" Target="../tags/tag108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07.xml"/><Relationship Id="rId5" Type="http://schemas.openxmlformats.org/officeDocument/2006/relationships/tags" Target="../tags/tag106.xml"/><Relationship Id="rId4" Type="http://schemas.openxmlformats.org/officeDocument/2006/relationships/tags" Target="../tags/tag105.xml"/><Relationship Id="rId9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tags" Target="../tags/tag19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8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9.bin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1" name="Objekt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>
          <a:xfrm>
            <a:off x="607485" y="3564000"/>
            <a:ext cx="11053233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/>
              <a:t>Cliquer pour insérer un sous-titre</a:t>
            </a:r>
          </a:p>
        </p:txBody>
      </p:sp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600000" y="12636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logo_fr.jpg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001" y="417600"/>
            <a:ext cx="1727584" cy="594000"/>
          </a:xfrm>
          <a:prstGeom prst="rect">
            <a:avLst/>
          </a:prstGeom>
        </p:spPr>
      </p:pic>
      <p:pic>
        <p:nvPicPr>
          <p:cNvPr id="7" name="Image 6" descr="https://www.innosquare.com/media/1139/logo_npr_f_black_horizontal_screen.png">
            <a:extLst>
              <a:ext uri="{FF2B5EF4-FFF2-40B4-BE49-F238E27FC236}">
                <a16:creationId xmlns:a16="http://schemas.microsoft.com/office/drawing/2014/main" id="{DD0C38E5-DAF3-4194-A93C-C209A5E56D6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389467"/>
            <a:ext cx="1263390" cy="72416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D5065205-618F-4284-B0E6-F3ECF85EE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09599" y="1766400"/>
            <a:ext cx="10989735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407921"/>
            <a:ext cx="10989733" cy="1846659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27" name="Objekt 2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76430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764301" y="3113578"/>
            <a:ext cx="1680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70958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70958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4484936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4484936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6260291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6260291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8035644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8035644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9810997" y="2373244"/>
            <a:ext cx="168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9810997" y="3113578"/>
            <a:ext cx="168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4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31" name="Objekt 3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2" y="3113577"/>
            <a:ext cx="2025649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3076315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3076315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5239092" y="2373244"/>
            <a:ext cx="192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5239092" y="3113578"/>
            <a:ext cx="192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305869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7305869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9468648" y="2373244"/>
            <a:ext cx="201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9468648" y="3113578"/>
            <a:ext cx="201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28" name="Objekt 2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764301" y="3113577"/>
            <a:ext cx="2496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3577600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6245659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8913717" y="3113578"/>
            <a:ext cx="249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764301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3577600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6245659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8913717" y="2373244"/>
            <a:ext cx="249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2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7" name="Objekt 1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7"/>
            <a:ext cx="345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4511172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4511172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8062939" y="2373244"/>
            <a:ext cx="345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8062939" y="3113578"/>
            <a:ext cx="3456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764301" y="2373244"/>
            <a:ext cx="5376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764301" y="3113578"/>
            <a:ext cx="5376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6286502" y="2373244"/>
            <a:ext cx="5147733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286502" y="3113578"/>
            <a:ext cx="5147733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609600" y="2126401"/>
            <a:ext cx="3181349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609599" y="2492376"/>
            <a:ext cx="3181351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39539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3953934" y="1766400"/>
            <a:ext cx="3094573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522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6498168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7776635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9048752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10327216" y="2126401"/>
            <a:ext cx="1272117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6" name="Objekt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09600" y="1327201"/>
            <a:ext cx="10989733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Cliquez pour modifier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2"/>
            </p:custDataLst>
          </p:nvPr>
        </p:nvSpPr>
        <p:spPr>
          <a:xfrm>
            <a:off x="609600" y="1767142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09600" y="13278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7CDDD05F-6F63-41B7-AAC6-E59A084528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ligne 2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2266801"/>
            <a:ext cx="10989733" cy="1846659"/>
          </a:xfrm>
        </p:spPr>
        <p:txBody>
          <a:bodyPr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09600" y="18240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24" name="Objekt 2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/>
              <a:t>Titel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756399" y="1858224"/>
            <a:ext cx="4842935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609600" y="1327200"/>
            <a:ext cx="10989733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609600" y="1858224"/>
            <a:ext cx="48432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609600" y="2221364"/>
            <a:ext cx="48432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6756399" y="2221364"/>
            <a:ext cx="4842935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13" name="Objekt 1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3" cy="948978"/>
          </a:xfrm>
        </p:spPr>
        <p:txBody>
          <a:bodyPr/>
          <a:lstStyle/>
          <a:p>
            <a:r>
              <a:rPr lang="fr-CH" dirty="0" err="1"/>
              <a:t>Titelmasterformat</a:t>
            </a:r>
            <a:r>
              <a:rPr lang="fr-CH" dirty="0"/>
              <a:t> </a:t>
            </a:r>
            <a:r>
              <a:rPr lang="fr-CH" dirty="0" err="1"/>
              <a:t>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609600" y="1328400"/>
            <a:ext cx="10937664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609600" y="1857601"/>
            <a:ext cx="490728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609600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6639984" y="1857601"/>
            <a:ext cx="490728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/>
              <a:t>Titel</a:t>
            </a:r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639984" y="2297400"/>
            <a:ext cx="490728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72" name="Objekt 7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09600" y="304800"/>
            <a:ext cx="10989731" cy="951970"/>
          </a:xfrm>
        </p:spPr>
        <p:txBody>
          <a:bodyPr/>
          <a:lstStyle/>
          <a:p>
            <a:r>
              <a:rPr lang="fr-CH" dirty="0"/>
              <a:t>Titelmasterformat bearbeite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609600" y="1860001"/>
            <a:ext cx="21336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024717" y="1860001"/>
            <a:ext cx="2136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5441950" y="1860001"/>
            <a:ext cx="372956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9429750" y="1860001"/>
            <a:ext cx="2169583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668866" y="237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3024717" y="237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5441950" y="237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9480531" y="237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66646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3024717" y="309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5441950" y="309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9480531" y="309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66886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3024717" y="381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5441950" y="3813323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9480531" y="381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668866" y="4533323"/>
            <a:ext cx="2135487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3024717" y="4533323"/>
            <a:ext cx="2136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5441950" y="4533324"/>
            <a:ext cx="3729567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609599" y="1327200"/>
            <a:ext cx="10989732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/>
              <a:t>Sous-titre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9480531" y="4533323"/>
            <a:ext cx="21696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12" name="Objekt 1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6400800" y="1327201"/>
            <a:ext cx="5200651" cy="307777"/>
          </a:xfrm>
        </p:spPr>
        <p:txBody>
          <a:bodyPr/>
          <a:lstStyle/>
          <a:p>
            <a:r>
              <a:rPr lang="fr-FR" dirty="0"/>
              <a:t>Cliquez sur l'icône pour ajouter une image</a:t>
            </a:r>
            <a:endParaRPr lang="fr-CH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/>
              <a:t>Titel bearbeiten</a:t>
            </a:r>
            <a:br>
              <a:rPr lang="fr-CH"/>
            </a:br>
            <a:r>
              <a:rPr lang="fr-CH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609600" y="1766400"/>
            <a:ext cx="5581651" cy="2154436"/>
          </a:xfrm>
        </p:spPr>
        <p:txBody>
          <a:bodyPr wrap="square">
            <a:sp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09600" y="1327200"/>
            <a:ext cx="5581651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/>
              <a:t>Sous-titre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24" imgW="0" imgH="0" progId="">
                  <p:embed/>
                </p:oleObj>
              </mc:Choice>
              <mc:Fallback>
                <p:oleObj name="think-cell Slide" r:id="rId24" imgW="0" imgH="0" progId="">
                  <p:embed/>
                  <p:pic>
                    <p:nvPicPr>
                      <p:cNvPr id="1034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609600" y="306000"/>
            <a:ext cx="10989733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itre exemple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609600" y="1371600"/>
            <a:ext cx="10989733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/>
              <a:t>Texte principal</a:t>
            </a:r>
          </a:p>
          <a:p>
            <a:pPr lvl="1"/>
            <a:r>
              <a:rPr lang="fr-CH" dirty="0"/>
              <a:t>Premier niveau</a:t>
            </a:r>
          </a:p>
          <a:p>
            <a:pPr lvl="2"/>
            <a:r>
              <a:rPr lang="fr-CH" dirty="0"/>
              <a:t>Deuxième niveau</a:t>
            </a:r>
          </a:p>
          <a:p>
            <a:pPr lvl="3"/>
            <a:r>
              <a:rPr lang="fr-CH" dirty="0"/>
              <a:t>Troisième niveau</a:t>
            </a:r>
          </a:p>
          <a:p>
            <a:pPr lvl="4"/>
            <a:r>
              <a:rPr lang="fr-CH" dirty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074400" y="6309320"/>
            <a:ext cx="53551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6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cxnSp>
        <p:nvCxnSpPr>
          <p:cNvPr id="14" name="Straight Connector 13"/>
          <p:cNvCxnSpPr/>
          <p:nvPr>
            <p:custDataLst>
              <p:tags r:id="rId23"/>
            </p:custDataLst>
          </p:nvPr>
        </p:nvCxnSpPr>
        <p:spPr>
          <a:xfrm>
            <a:off x="600000" y="6192000"/>
            <a:ext cx="10992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2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22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23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24.vml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25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1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7" name="Objekt 6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19" name="Titel 11"/>
          <p:cNvSpPr>
            <a:spLocks noGrp="1"/>
          </p:cNvSpPr>
          <p:nvPr>
            <p:ph type="ctrTitle"/>
            <p:custDataLst>
              <p:tags r:id="rId2"/>
            </p:custDataLst>
          </p:nvPr>
        </p:nvSpPr>
        <p:spPr>
          <a:xfrm>
            <a:off x="1979614" y="1982093"/>
            <a:ext cx="8289925" cy="1897955"/>
          </a:xfrm>
        </p:spPr>
        <p:txBody>
          <a:bodyPr/>
          <a:lstStyle/>
          <a:p>
            <a:r>
              <a:rPr lang="en-US" sz="2000" b="0" dirty="0"/>
              <a:t>Funding application for collaborative project </a:t>
            </a:r>
            <a:br>
              <a:rPr lang="fr-CH" sz="2000" b="0" dirty="0"/>
            </a:br>
            <a:r>
              <a:rPr lang="fr-CH" dirty="0">
                <a:highlight>
                  <a:srgbClr val="FFFF00"/>
                </a:highlight>
              </a:rPr>
              <a:t>Project title</a:t>
            </a:r>
            <a:br>
              <a:rPr lang="fr-CH" dirty="0"/>
            </a:br>
            <a:r>
              <a:rPr lang="fr-CH" sz="2000" b="0" dirty="0"/>
              <a:t>Acronym : </a:t>
            </a:r>
            <a:r>
              <a:rPr lang="fr-CH" sz="2000" b="0" dirty="0">
                <a:highlight>
                  <a:srgbClr val="FFFF00"/>
                </a:highlight>
              </a:rPr>
              <a:t>xxx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9220" name="Textplatzhalter 13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1979614" y="3998094"/>
            <a:ext cx="8289925" cy="1231106"/>
          </a:xfrm>
        </p:spPr>
        <p:txBody>
          <a:bodyPr/>
          <a:lstStyle/>
          <a:p>
            <a:pPr eaLnBrk="1" hangingPunct="1">
              <a:spcAft>
                <a:spcPct val="0"/>
              </a:spcAft>
            </a:pPr>
            <a:r>
              <a:rPr lang="fr-CH" sz="2000" dirty="0"/>
              <a:t>CAPE </a:t>
            </a:r>
            <a:r>
              <a:rPr lang="fr-CH" sz="2000" dirty="0" err="1">
                <a:highlight>
                  <a:srgbClr val="FFFF00"/>
                </a:highlight>
              </a:rPr>
              <a:t>dd.mm.yyyy</a:t>
            </a:r>
            <a:endParaRPr lang="fr-CH" sz="2000" dirty="0">
              <a:highlight>
                <a:srgbClr val="FFFF00"/>
              </a:highlight>
            </a:endParaRPr>
          </a:p>
          <a:p>
            <a:pPr eaLnBrk="1" hangingPunct="1">
              <a:spcAft>
                <a:spcPct val="0"/>
              </a:spcAft>
            </a:pPr>
            <a:endParaRPr lang="fr-CH" sz="2000" dirty="0"/>
          </a:p>
          <a:p>
            <a:pPr>
              <a:spcAft>
                <a:spcPct val="0"/>
              </a:spcAft>
            </a:pPr>
            <a:r>
              <a:rPr lang="fr-CH" sz="2000" dirty="0"/>
              <a:t>Requestors: 				</a:t>
            </a:r>
            <a:r>
              <a:rPr lang="fr-CH" sz="2000" dirty="0">
                <a:highlight>
                  <a:srgbClr val="FFFF00"/>
                </a:highlight>
              </a:rPr>
              <a:t>First Name, Name, High school / Institute</a:t>
            </a:r>
            <a:br>
              <a:rPr lang="fr-CH" sz="2000" dirty="0">
                <a:highlight>
                  <a:srgbClr val="FFFF00"/>
                </a:highlight>
              </a:rPr>
            </a:br>
            <a:r>
              <a:rPr lang="fr-CH" sz="2000" dirty="0"/>
              <a:t>							</a:t>
            </a:r>
            <a:r>
              <a:rPr lang="fr-CH" sz="2000" dirty="0">
                <a:highlight>
                  <a:srgbClr val="FFFF00"/>
                </a:highlight>
              </a:rPr>
              <a:t>First Name, Name, Compagny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2163CB-F6A9-4557-A0D8-DA3E993DF3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r>
              <a:rPr lang="fr-CH" dirty="0">
                <a:solidFill>
                  <a:srgbClr val="3673B9"/>
                </a:solidFill>
              </a:rPr>
              <a:t>Information for presenters</a:t>
            </a:r>
            <a:br>
              <a:rPr lang="fr-CH" dirty="0">
                <a:solidFill>
                  <a:srgbClr val="3673B9"/>
                </a:solidFill>
              </a:rPr>
            </a:br>
            <a:r>
              <a:rPr lang="fr-CH" dirty="0">
                <a:solidFill>
                  <a:srgbClr val="3673B9"/>
                </a:solidFill>
              </a:rPr>
              <a:t>(slide to be deleted)</a:t>
            </a:r>
            <a:endParaRPr lang="fr-CH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15AAC-DAC1-4475-BCC8-A72E0B47385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7031" y="1844824"/>
            <a:ext cx="10989733" cy="1538883"/>
          </a:xfrm>
        </p:spPr>
        <p:txBody>
          <a:bodyPr/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You have 7 minutes of presentation and 7 minutes of Questions &amp; Answers (not 1 more minute!)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The presentation template is imposed to ensure better time management and standardize the information presented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Keep in mind that the CAPE audience is not necessarily technical, it is important to simplify the technical information.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INNOSQUARE is at your disposal to support you in the preparation of your presentat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3673B9"/>
                </a:solidFill>
              </a:rPr>
              <a:t>The final presentation must be few days before the CAPE to </a:t>
            </a:r>
            <a:r>
              <a:rPr lang="fr-CH" sz="1600" dirty="0">
                <a:solidFill>
                  <a:srgbClr val="3673B9"/>
                </a:solidFill>
              </a:rPr>
              <a:t>INNOSQUARE</a:t>
            </a:r>
          </a:p>
        </p:txBody>
      </p:sp>
    </p:spTree>
    <p:extLst>
      <p:ext uri="{BB962C8B-B14F-4D97-AF65-F5344CB8AC3E}">
        <p14:creationId xmlns:p14="http://schemas.microsoft.com/office/powerpoint/2010/main" val="6132934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8" name="Objekt 7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02" name="Rectangle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/>
              <a:t>Agenda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51203" name="Rectangle 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3225380" y="2420888"/>
            <a:ext cx="8242300" cy="1477328"/>
          </a:xfrm>
        </p:spPr>
        <p:txBody>
          <a:bodyPr/>
          <a:lstStyle/>
          <a:p>
            <a:r>
              <a:rPr lang="fr-CH" sz="2400" dirty="0" err="1"/>
              <a:t>Context</a:t>
            </a:r>
            <a:r>
              <a:rPr lang="fr-CH" sz="2400" dirty="0"/>
              <a:t> </a:t>
            </a:r>
          </a:p>
          <a:p>
            <a:r>
              <a:rPr lang="fr-CH" sz="2400" dirty="0"/>
              <a:t>Projet </a:t>
            </a:r>
            <a:r>
              <a:rPr lang="fr-CH" sz="2400" dirty="0" err="1"/>
              <a:t>presentation</a:t>
            </a:r>
            <a:endParaRPr lang="fr-CH" sz="2400" dirty="0"/>
          </a:p>
          <a:p>
            <a:r>
              <a:rPr lang="fr-CH" sz="2400" dirty="0"/>
              <a:t>Impacts and </a:t>
            </a:r>
            <a:r>
              <a:rPr lang="fr-CH" sz="2400" dirty="0" err="1"/>
              <a:t>valorization</a:t>
            </a:r>
            <a:endParaRPr lang="fr-CH" sz="2400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Contex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28" name="Text Placeholder 2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609600" y="1756212"/>
            <a:ext cx="11391056" cy="307777"/>
          </a:xfrm>
        </p:spPr>
        <p:txBody>
          <a:bodyPr/>
          <a:lstStyle/>
          <a:p>
            <a:r>
              <a:rPr lang="en-US" dirty="0">
                <a:solidFill>
                  <a:srgbClr val="00A0DB"/>
                </a:solidFill>
              </a:rPr>
              <a:t>Present the context with 2-3 key points, image, photograph, graph, press article, etc.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16" name="Espace réservé du texte 7">
            <a:extLst>
              <a:ext uri="{FF2B5EF4-FFF2-40B4-BE49-F238E27FC236}">
                <a16:creationId xmlns:a16="http://schemas.microsoft.com/office/drawing/2014/main" id="{9F8499DF-CB61-4020-BC7F-02C937981D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9600" y="1327800"/>
            <a:ext cx="10989733" cy="369332"/>
          </a:xfrm>
        </p:spPr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5379608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Objectives, </a:t>
            </a:r>
            <a:r>
              <a:rPr lang="fr-CH" dirty="0" err="1"/>
              <a:t>methodology</a:t>
            </a:r>
            <a:r>
              <a:rPr lang="fr-CH" dirty="0"/>
              <a:t> and </a:t>
            </a:r>
            <a:r>
              <a:rPr lang="fr-CH" dirty="0" err="1"/>
              <a:t>delivrables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7358608" cy="253915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Main </a:t>
            </a:r>
            <a:r>
              <a:rPr lang="fr-CH" dirty="0" err="1">
                <a:solidFill>
                  <a:srgbClr val="00A0DB"/>
                </a:solidFill>
              </a:rPr>
              <a:t>project</a:t>
            </a:r>
            <a:r>
              <a:rPr lang="fr-CH" dirty="0">
                <a:solidFill>
                  <a:srgbClr val="00A0DB"/>
                </a:solidFill>
              </a:rPr>
              <a:t> objectives</a:t>
            </a:r>
          </a:p>
          <a:p>
            <a:r>
              <a:rPr lang="fr-CH" dirty="0">
                <a:solidFill>
                  <a:srgbClr val="00A0DB"/>
                </a:solidFill>
              </a:rPr>
              <a:t>Illustration / photo to </a:t>
            </a:r>
            <a:r>
              <a:rPr lang="fr-CH" dirty="0" err="1">
                <a:solidFill>
                  <a:srgbClr val="00A0DB"/>
                </a:solidFill>
              </a:rPr>
              <a:t>illustrate</a:t>
            </a:r>
            <a:r>
              <a:rPr lang="fr-CH" dirty="0">
                <a:solidFill>
                  <a:srgbClr val="00A0DB"/>
                </a:solidFill>
              </a:rPr>
              <a:t> the </a:t>
            </a:r>
            <a:r>
              <a:rPr lang="fr-CH" dirty="0" err="1">
                <a:solidFill>
                  <a:srgbClr val="00A0DB"/>
                </a:solidFill>
              </a:rPr>
              <a:t>project</a:t>
            </a:r>
            <a:endParaRPr lang="fr-CH" dirty="0">
              <a:solidFill>
                <a:srgbClr val="00A0DB"/>
              </a:solidFill>
            </a:endParaRPr>
          </a:p>
          <a:p>
            <a:endParaRPr lang="fr-CH" dirty="0">
              <a:solidFill>
                <a:srgbClr val="00A0DB"/>
              </a:solidFill>
            </a:endParaRPr>
          </a:p>
          <a:p>
            <a:endParaRPr lang="fr-CH" dirty="0">
              <a:solidFill>
                <a:srgbClr val="00A0DB"/>
              </a:solidFill>
            </a:endParaRPr>
          </a:p>
          <a:p>
            <a:r>
              <a:rPr lang="fr-CH" dirty="0" err="1">
                <a:solidFill>
                  <a:srgbClr val="00A0DB"/>
                </a:solidFill>
              </a:rPr>
              <a:t>Methodology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presented</a:t>
            </a:r>
            <a:r>
              <a:rPr lang="fr-CH" dirty="0">
                <a:solidFill>
                  <a:srgbClr val="00A0DB"/>
                </a:solidFill>
              </a:rPr>
              <a:t> </a:t>
            </a:r>
            <a:r>
              <a:rPr lang="fr-CH" dirty="0" err="1">
                <a:solidFill>
                  <a:srgbClr val="00A0DB"/>
                </a:solidFill>
              </a:rPr>
              <a:t>with</a:t>
            </a:r>
            <a:r>
              <a:rPr lang="fr-CH" dirty="0">
                <a:solidFill>
                  <a:srgbClr val="00A0DB"/>
                </a:solidFill>
              </a:rPr>
              <a:t> a simple </a:t>
            </a:r>
            <a:r>
              <a:rPr lang="fr-CH" dirty="0" err="1">
                <a:solidFill>
                  <a:srgbClr val="00A0DB"/>
                </a:solidFill>
              </a:rPr>
              <a:t>schema</a:t>
            </a:r>
            <a:r>
              <a:rPr lang="fr-CH" dirty="0">
                <a:solidFill>
                  <a:srgbClr val="00A0DB"/>
                </a:solidFill>
              </a:rPr>
              <a:t> if possible</a:t>
            </a:r>
          </a:p>
          <a:p>
            <a:r>
              <a:rPr lang="fr-CH" dirty="0">
                <a:solidFill>
                  <a:srgbClr val="00A0DB"/>
                </a:solidFill>
              </a:rPr>
              <a:t>3-5 key </a:t>
            </a:r>
            <a:r>
              <a:rPr lang="fr-CH" dirty="0" err="1">
                <a:solidFill>
                  <a:srgbClr val="00A0DB"/>
                </a:solidFill>
              </a:rPr>
              <a:t>delivrables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088494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 err="1"/>
              <a:t>Partners</a:t>
            </a:r>
            <a:r>
              <a:rPr lang="fr-CH" dirty="0"/>
              <a:t> and Budget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1846659"/>
          </a:xfrm>
        </p:spPr>
        <p:txBody>
          <a:bodyPr/>
          <a:lstStyle/>
          <a:p>
            <a:r>
              <a:rPr lang="fr-CH" dirty="0" err="1">
                <a:solidFill>
                  <a:srgbClr val="00A0DB"/>
                </a:solidFill>
              </a:rPr>
              <a:t>Partners</a:t>
            </a:r>
            <a:r>
              <a:rPr lang="fr-CH" dirty="0">
                <a:solidFill>
                  <a:srgbClr val="00A0DB"/>
                </a:solidFill>
              </a:rPr>
              <a:t> (logos) </a:t>
            </a:r>
          </a:p>
          <a:p>
            <a:endParaRPr lang="fr-CH" dirty="0">
              <a:solidFill>
                <a:srgbClr val="00A0DB"/>
              </a:solidFill>
            </a:endParaRPr>
          </a:p>
          <a:p>
            <a:endParaRPr lang="fr-CH" dirty="0">
              <a:solidFill>
                <a:srgbClr val="00A0DB"/>
              </a:solidFill>
            </a:endParaRPr>
          </a:p>
          <a:p>
            <a:endParaRPr lang="fr-CH" dirty="0">
              <a:solidFill>
                <a:srgbClr val="00A0DB"/>
              </a:solidFill>
            </a:endParaRPr>
          </a:p>
          <a:p>
            <a:r>
              <a:rPr lang="fr-CH" dirty="0">
                <a:solidFill>
                  <a:srgbClr val="00A0DB"/>
                </a:solidFill>
              </a:rPr>
              <a:t>Fill budget </a:t>
            </a:r>
            <a:r>
              <a:rPr lang="fr-CH" dirty="0" err="1">
                <a:solidFill>
                  <a:srgbClr val="00A0DB"/>
                </a:solidFill>
              </a:rPr>
              <a:t>below</a:t>
            </a:r>
            <a:endParaRPr lang="fr-CH" dirty="0">
              <a:solidFill>
                <a:srgbClr val="00A0DB"/>
              </a:solidFill>
            </a:endParaRP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  <p:graphicFrame>
        <p:nvGraphicFramePr>
          <p:cNvPr id="15" name="Tableau 14">
            <a:extLst>
              <a:ext uri="{FF2B5EF4-FFF2-40B4-BE49-F238E27FC236}">
                <a16:creationId xmlns:a16="http://schemas.microsoft.com/office/drawing/2014/main" id="{076E6B6E-8D47-4030-82C0-9E4780EEE3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4047597"/>
              </p:ext>
            </p:extLst>
          </p:nvPr>
        </p:nvGraphicFramePr>
        <p:xfrm>
          <a:off x="609600" y="3789040"/>
          <a:ext cx="5890235" cy="1608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45879">
                  <a:extLst>
                    <a:ext uri="{9D8B030D-6E8A-4147-A177-3AD203B41FA5}">
                      <a16:colId xmlns:a16="http://schemas.microsoft.com/office/drawing/2014/main" val="2283373342"/>
                    </a:ext>
                  </a:extLst>
                </a:gridCol>
                <a:gridCol w="1844356">
                  <a:extLst>
                    <a:ext uri="{9D8B030D-6E8A-4147-A177-3AD203B41FA5}">
                      <a16:colId xmlns:a16="http://schemas.microsoft.com/office/drawing/2014/main" val="1664966737"/>
                    </a:ext>
                  </a:extLst>
                </a:gridCol>
              </a:tblGrid>
              <a:tr h="402058">
                <a:tc>
                  <a:txBody>
                    <a:bodyPr/>
                    <a:lstStyle/>
                    <a:p>
                      <a:r>
                        <a:rPr lang="fr-CH" sz="1800" b="1" dirty="0">
                          <a:solidFill>
                            <a:sysClr val="windowText" lastClr="000000"/>
                          </a:solidFill>
                        </a:rPr>
                        <a:t>Total </a:t>
                      </a:r>
                      <a:r>
                        <a:rPr lang="fr-CH" sz="1800" b="1" dirty="0" err="1">
                          <a:solidFill>
                            <a:sysClr val="windowText" lastClr="000000"/>
                          </a:solidFill>
                        </a:rPr>
                        <a:t>project</a:t>
                      </a:r>
                      <a:r>
                        <a:rPr lang="fr-CH" sz="1800" b="1" dirty="0">
                          <a:solidFill>
                            <a:sysClr val="windowText" lastClr="000000"/>
                          </a:solidFill>
                        </a:rPr>
                        <a:t> budge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b="1" dirty="0">
                          <a:solidFill>
                            <a:sysClr val="windowText" lastClr="000000"/>
                          </a:solidFill>
                        </a:rPr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986772807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/>
                        <a:t>NRP </a:t>
                      </a:r>
                      <a:r>
                        <a:rPr lang="fr-CH" sz="1800" dirty="0" err="1"/>
                        <a:t>funding</a:t>
                      </a:r>
                      <a:endParaRPr lang="fr-CH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24297282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 err="1"/>
                        <a:t>Partners</a:t>
                      </a:r>
                      <a:r>
                        <a:rPr lang="fr-CH" sz="1800" dirty="0"/>
                        <a:t> cash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995403506"/>
                  </a:ext>
                </a:extLst>
              </a:tr>
              <a:tr h="402058">
                <a:tc>
                  <a:txBody>
                    <a:bodyPr/>
                    <a:lstStyle/>
                    <a:p>
                      <a:r>
                        <a:rPr lang="fr-CH" sz="1800" dirty="0" err="1"/>
                        <a:t>Partners</a:t>
                      </a:r>
                      <a:r>
                        <a:rPr lang="fr-CH" sz="1800" dirty="0"/>
                        <a:t> in-</a:t>
                      </a:r>
                      <a:r>
                        <a:rPr lang="fr-CH" sz="1800" dirty="0" err="1"/>
                        <a:t>kind</a:t>
                      </a:r>
                      <a:endParaRPr lang="fr-CH" sz="18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800" dirty="0"/>
                        <a:t>CHF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5865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30788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48978"/>
          </a:xfrm>
        </p:spPr>
        <p:txBody>
          <a:bodyPr/>
          <a:lstStyle/>
          <a:p>
            <a:r>
              <a:rPr lang="fr-CH" dirty="0"/>
              <a:t>Impacts and </a:t>
            </a:r>
            <a:r>
              <a:rPr lang="fr-CH" dirty="0" err="1"/>
              <a:t>Valorization</a:t>
            </a:r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BE3E11A-B404-4107-9E16-4C9E7222CC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" y="1921030"/>
            <a:ext cx="5959985" cy="307777"/>
          </a:xfrm>
        </p:spPr>
        <p:txBody>
          <a:bodyPr/>
          <a:lstStyle/>
          <a:p>
            <a:r>
              <a:rPr lang="fr-CH" dirty="0">
                <a:solidFill>
                  <a:srgbClr val="00A0DB"/>
                </a:solidFill>
              </a:rPr>
              <a:t>For </a:t>
            </a:r>
            <a:r>
              <a:rPr lang="fr-CH" dirty="0" err="1">
                <a:solidFill>
                  <a:srgbClr val="00A0DB"/>
                </a:solidFill>
              </a:rPr>
              <a:t>partners</a:t>
            </a:r>
            <a:r>
              <a:rPr lang="fr-CH" dirty="0">
                <a:solidFill>
                  <a:srgbClr val="00A0DB"/>
                </a:solidFill>
              </a:rPr>
              <a:t> and for the Cant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3266AE85-A025-4D53-A50F-F670661FE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41102854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/>
          </p:cNvGraphicFramePr>
          <p:nvPr/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5" name="Objekt 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itle 25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609600" y="304801"/>
            <a:ext cx="10989733" cy="984885"/>
          </a:xfrm>
        </p:spPr>
        <p:txBody>
          <a:bodyPr/>
          <a:lstStyle/>
          <a:p>
            <a:br>
              <a:rPr lang="fr-CH" dirty="0"/>
            </a:br>
            <a:r>
              <a:rPr lang="fr-CH" dirty="0"/>
              <a:t>—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09600" y="1327800"/>
            <a:ext cx="10989733" cy="553998"/>
          </a:xfrm>
        </p:spPr>
        <p:txBody>
          <a:bodyPr/>
          <a:lstStyle/>
          <a:p>
            <a:r>
              <a:rPr lang="fr-CH" sz="3600" dirty="0" err="1">
                <a:solidFill>
                  <a:schemeClr val="tx1"/>
                </a:solidFill>
              </a:rPr>
              <a:t>Thanks</a:t>
            </a:r>
            <a:r>
              <a:rPr lang="fr-CH" sz="3600" dirty="0">
                <a:solidFill>
                  <a:schemeClr val="tx1"/>
                </a:solidFill>
              </a:rPr>
              <a:t> for </a:t>
            </a:r>
            <a:r>
              <a:rPr lang="fr-CH" sz="3600" dirty="0" err="1">
                <a:solidFill>
                  <a:schemeClr val="tx1"/>
                </a:solidFill>
              </a:rPr>
              <a:t>your</a:t>
            </a:r>
            <a:r>
              <a:rPr lang="fr-CH" sz="3600" dirty="0">
                <a:solidFill>
                  <a:schemeClr val="tx1"/>
                </a:solidFill>
              </a:rPr>
              <a:t> attention</a:t>
            </a:r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30D0AB66-CE03-4AE1-8476-D31D02376E4C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5375920" y="3573016"/>
            <a:ext cx="5832648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074EA1"/>
              </a:buClr>
              <a:buFont typeface="Lucida Grande" pitchFamily="-112" charset="0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ＭＳ Ｐゴシック" pitchFamily="-112" charset="-128"/>
              </a:defRPr>
            </a:lvl1pPr>
            <a:lvl2pPr marL="273050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2pPr>
            <a:lvl3pPr marL="539750" indent="-26511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Tx/>
              <a:buSzPct val="100000"/>
              <a:buFont typeface="Arial"/>
              <a:buChar char="&gt;"/>
              <a:defRPr sz="2000" kern="1200" baseline="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3pPr>
            <a:lvl4pPr marL="803275" indent="-261938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4pPr>
            <a:lvl5pPr marL="1076325" indent="-271463" algn="l" defTabSz="457200" rtl="0" eaLnBrk="1" fontAlgn="base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SzPct val="100000"/>
              <a:buFont typeface="Arial"/>
              <a:buChar char="&gt;"/>
              <a:defRPr sz="2000" kern="1200">
                <a:solidFill>
                  <a:schemeClr val="tx1"/>
                </a:solidFill>
                <a:latin typeface="Arial"/>
                <a:ea typeface="ＭＳ Ｐゴシック" pitchFamily="-112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H"/>
              <a:t>Contact person:</a:t>
            </a:r>
          </a:p>
          <a:p>
            <a:pPr marL="531812" lvl="3" indent="0">
              <a:buFont typeface="Arial"/>
              <a:buNone/>
            </a:pPr>
            <a:r>
              <a:rPr lang="fr-CH"/>
              <a:t>First name and Name of project leader</a:t>
            </a:r>
          </a:p>
          <a:p>
            <a:pPr marL="531812" lvl="3" indent="0">
              <a:buFont typeface="Arial"/>
              <a:buNone/>
            </a:pPr>
            <a:r>
              <a:rPr lang="fr-CH"/>
              <a:t>Entity, function</a:t>
            </a:r>
          </a:p>
          <a:p>
            <a:pPr marL="531812" lvl="3" indent="0">
              <a:buFont typeface="Arial"/>
              <a:buNone/>
            </a:pPr>
            <a:r>
              <a:rPr lang="fr-CH"/>
              <a:t>Email address</a:t>
            </a:r>
          </a:p>
          <a:p>
            <a:pPr marL="531812" lvl="3" indent="0">
              <a:buFont typeface="Arial"/>
              <a:buNone/>
            </a:pPr>
            <a:r>
              <a:rPr lang="fr-CH"/>
              <a:t>Phone number</a:t>
            </a:r>
            <a:endParaRPr lang="fr-CH" dirty="0"/>
          </a:p>
        </p:txBody>
      </p:sp>
    </p:spTree>
    <p:extLst>
      <p:ext uri="{BB962C8B-B14F-4D97-AF65-F5344CB8AC3E}">
        <p14:creationId xmlns:p14="http://schemas.microsoft.com/office/powerpoint/2010/main" val="1283387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IO_X8a8EOlkrwbFKjsC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t_wHLYiUm8r9R01aEHb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JQR.GDT0SVedDtokDh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8AnYFRkECT4xTGrsNTz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82GD7GbEq6VOFyXqcD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KQ8GzWU2i8iDdIjKiJ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fb4H25OEWG0swWMcDB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heme/theme1.xml><?xml version="1.0" encoding="utf-8"?>
<a:theme xmlns:a="http://schemas.openxmlformats.org/drawingml/2006/main" name="pp_etat_fribourg_en_bas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6584b67-a7e9-4a55-be01-8955a44b6edb">6424TND5UH7S-445532662-308</_dlc_DocId>
    <_dlc_DocIdUrl xmlns="76584b67-a7e9-4a55-be01-8955a44b6edb">
      <Url>https://projet.hefr.ch/sites/Inno20-23/_layouts/15/DocIdRedir.aspx?ID=6424TND5UH7S-445532662-308</Url>
      <Description>6424TND5UH7S-445532662-308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4F2D85F1E8A244A92F84286B71EB85" ma:contentTypeVersion="1" ma:contentTypeDescription="Create a new document." ma:contentTypeScope="" ma:versionID="404aaa04f78874d85faddae0b79d0c01">
  <xsd:schema xmlns:xsd="http://www.w3.org/2001/XMLSchema" xmlns:xs="http://www.w3.org/2001/XMLSchema" xmlns:p="http://schemas.microsoft.com/office/2006/metadata/properties" xmlns:ns2="16cccf87-4c18-4fc1-bb18-31b3485ec9c0" xmlns:ns3="76584b67-a7e9-4a55-be01-8955a44b6edb" targetNamespace="http://schemas.microsoft.com/office/2006/metadata/properties" ma:root="true" ma:fieldsID="91d440d05d29d3d9d9d2ba403ad87667" ns2:_="" ns3:_="">
    <xsd:import namespace="16cccf87-4c18-4fc1-bb18-31b3485ec9c0"/>
    <xsd:import namespace="76584b67-a7e9-4a55-be01-8955a44b6ed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3:_dlc_DocId" minOccurs="0"/>
                <xsd:element ref="ns3:_dlc_DocIdUrl" minOccurs="0"/>
                <xsd:element ref="ns3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ccf87-4c18-4fc1-bb18-31b3485ec9c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584b67-a7e9-4a55-be01-8955a44b6edb" elementFormDefault="qualified">
    <xsd:import namespace="http://schemas.microsoft.com/office/2006/documentManagement/types"/>
    <xsd:import namespace="http://schemas.microsoft.com/office/infopath/2007/PartnerControls"/>
    <xsd:element name="_dlc_DocId" ma:index="9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0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1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DCF5D2B-3932-462E-9C09-F84599A3287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68D7E05-D642-4901-96CD-ED0C8C7F2378}">
  <ds:schemaRefs>
    <ds:schemaRef ds:uri="http://schemas.microsoft.com/office/2006/metadata/properties"/>
    <ds:schemaRef ds:uri="76584b67-a7e9-4a55-be01-8955a44b6edb"/>
    <ds:schemaRef ds:uri="http://schemas.microsoft.com/office/2006/documentManagement/types"/>
    <ds:schemaRef ds:uri="http://purl.org/dc/dcmitype/"/>
    <ds:schemaRef ds:uri="http://www.w3.org/XML/1998/namespace"/>
    <ds:schemaRef ds:uri="http://schemas.openxmlformats.org/package/2006/metadata/core-properties"/>
    <ds:schemaRef ds:uri="16cccf87-4c18-4fc1-bb18-31b3485ec9c0"/>
    <ds:schemaRef ds:uri="http://schemas.microsoft.com/office/infopath/2007/PartnerControls"/>
    <ds:schemaRef ds:uri="http://purl.org/dc/terms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BF501EF4-27BE-4CAD-A83B-31E327E165A4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4A012854-67FF-4D8C-99CD-63C7ACCB65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cccf87-4c18-4fc1-bb18-31b3485ec9c0"/>
    <ds:schemaRef ds:uri="76584b67-a7e9-4a55-be01-8955a44b6ed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_promfr_10_11_2010_de_fr</Template>
  <TotalTime>0</TotalTime>
  <Words>212</Words>
  <Application>Microsoft Office PowerPoint</Application>
  <PresentationFormat>Grand écran</PresentationFormat>
  <Paragraphs>53</Paragraphs>
  <Slides>8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8</vt:i4>
      </vt:variant>
    </vt:vector>
  </HeadingPairs>
  <TitlesOfParts>
    <vt:vector size="14" baseType="lpstr">
      <vt:lpstr>ＭＳ Ｐゴシック</vt:lpstr>
      <vt:lpstr>Arial</vt:lpstr>
      <vt:lpstr>Calibri</vt:lpstr>
      <vt:lpstr>Lucida Grande</vt:lpstr>
      <vt:lpstr>pp_etat_fribourg_en_bas</vt:lpstr>
      <vt:lpstr>think-cell Slide</vt:lpstr>
      <vt:lpstr>Funding application for collaborative project  Project title Acronym : xxx —</vt:lpstr>
      <vt:lpstr>Information for presenters (slide to be deleted)</vt:lpstr>
      <vt:lpstr>Agenda —</vt:lpstr>
      <vt:lpstr>Context —</vt:lpstr>
      <vt:lpstr>Objectives, methodology and delivrables —</vt:lpstr>
      <vt:lpstr>Partners and Budget —</vt:lpstr>
      <vt:lpstr>Impacts and Valorization —</vt:lpstr>
      <vt:lpstr> —</vt:lpstr>
    </vt:vector>
  </TitlesOfParts>
  <Company>oe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ire votre titre Je suis un titre fictif sur trois lignes —</dc:title>
  <dc:creator>Oberson Bernadette</dc:creator>
  <cp:lastModifiedBy>Casteran Claire</cp:lastModifiedBy>
  <cp:revision>35</cp:revision>
  <cp:lastPrinted>2010-03-18T08:00:30Z</cp:lastPrinted>
  <dcterms:created xsi:type="dcterms:W3CDTF">2021-02-02T14:31:30Z</dcterms:created>
  <dcterms:modified xsi:type="dcterms:W3CDTF">2022-08-30T15:20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84F2D85F1E8A244A92F84286B71EB85</vt:lpwstr>
  </property>
  <property fmtid="{D5CDD505-2E9C-101B-9397-08002B2CF9AE}" pid="3" name="_dlc_DocIdItemGuid">
    <vt:lpwstr>f4cf7ca9-b9a1-400c-852b-8099392c4255</vt:lpwstr>
  </property>
</Properties>
</file>